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D07E5D8-FD31-467B-9DC5-D97F3C7C872D}">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1177703347121914e-07</c:v>
                </c:pt>
                <c:pt idx="1">
                  <c:v/>
                </c:pt>
                <c:pt idx="2">
                  <c:v/>
                </c:pt>
                <c:pt idx="3">
                  <c:v>0.069651045588064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4495954888504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0844959548885048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8909765554824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1897111873943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18971118739434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208549500729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56949327069272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956949327069272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1177703347121914e-07</c:v>
                </c:pt>
                <c:pt idx="1">
                  <c:v/>
                </c:pt>
                <c:pt idx="2">
                  <c:v/>
                </c:pt>
                <c:pt idx="3">
                  <c:v>0.069651045588064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8909765554824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02286355530656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02286355530656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208549500729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3.0104726496276957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3.0104726496276957e-0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7173444326659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226517664242014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951882130535129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7173444326659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12140558623432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121405586234327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226517664242014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12157272459764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705518922463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67055189224631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12157272459764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74430728606346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474430728606346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32448315282113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59907231898217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599072318982173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168102849873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62418341201551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62418341201551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7958531175922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63285683688994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8632856836889946</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32448315282113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765632203605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476563220360538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1177703347121914e-07</c:v>
                </c:pt>
                <c:pt idx="1">
                  <c:v/>
                </c:pt>
                <c:pt idx="2">
                  <c:v/>
                </c:pt>
                <c:pt idx="3">
                  <c:v>0.069651045588064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9168102849873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60239852625584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602398526255849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7958531175922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22177043541550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221770435415506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254709346856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9608307297728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04130127492609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04130127492609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2519092321619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403720563311543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4037205633115434</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96083072977285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9218134353886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2327927961734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232792796173455</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84254709346856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75799635254913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2757996352549133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22519092321619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93702103845681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937021038456818</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0.00012274661801493894</c:v>
                </c:pt>
                <c:pt idx="3">
                  <c:v>0.063165424139635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2592181343538861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300197535217091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30019753521709183</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1177703347121914e-07</c:v>
                </c:pt>
                <c:pt idx="1">
                  <c:v/>
                </c:pt>
                <c:pt idx="2">
                  <c:v/>
                </c:pt>
                <c:pt idx="3">
                  <c:v>0.069651045588064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319490077683078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2152259190268123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5973309539085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4569659001722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0908758680096771</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319490077683078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5973309539085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1.1969035214207722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7.148203296867518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7.148203296867518e-0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5973309539085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7405854542562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014145454410613437</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5973309539085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04569659001722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1474363382928485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1.3648745175995446e-06</c:v>
                </c:pt>
                <c:pt idx="1">
                  <c:v>1.2566619599381997e-07</c:v>
                </c:pt>
                <c:pt idx="2">
                  <c:v>0.024331157249195105</c:v>
                </c:pt>
                <c:pt idx="3">
                  <c:v>0.9756673522100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0.14743633829284852</c:v>
                </c:pt>
                <c:pt idx="1">
                  <c:v/>
                </c:pt>
                <c:pt idx="2">
                  <c:v/>
                </c:pt>
                <c:pt idx="3">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85973309539085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
                </c:pt>
                <c:pt idx="1">
                  <c:v/>
                </c:pt>
                <c:pt idx="2">
                  <c:v/>
                </c:pt>
                <c:pt idx="3">
                  <c:v>0.0087405854542562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0">
                  <c:v>5.554886826266592e-07</c:v>
                </c:pt>
                <c:pt idx="1">
                  <c:v>5.114473804235225e-08</c:v>
                </c:pt>
                <c:pt idx="2">
                  <c:v>0.0099025092144793</c:v>
                </c:pt>
                <c:pt idx="3">
                  <c:v>0.397085713867829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6828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41698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622487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77058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10481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87417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886817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52333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519828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97037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596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52327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14309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49208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635680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442338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30286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021289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1769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28688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093673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2507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1884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37503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21411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1837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9179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56099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51757">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51757">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51757">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51757">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68609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